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1" r:id="rId4"/>
    <p:sldMasterId id="2147483662" r:id="rId5"/>
    <p:sldMasterId id="2147483681" r:id="rId6"/>
    <p:sldMasterId id="2147483689" r:id="rId7"/>
    <p:sldMasterId id="2147483716" r:id="rId8"/>
    <p:sldMasterId id="2147483737" r:id="rId9"/>
    <p:sldMasterId id="2147483854" r:id="rId10"/>
    <p:sldMasterId id="2147483874" r:id="rId11"/>
    <p:sldMasterId id="2147484262" r:id="rId12"/>
  </p:sldMasterIdLst>
  <p:notesMasterIdLst>
    <p:notesMasterId r:id="rId20"/>
  </p:notesMasterIdLst>
  <p:handoutMasterIdLst>
    <p:handoutMasterId r:id="rId21"/>
  </p:handoutMasterIdLst>
  <p:sldIdLst>
    <p:sldId id="2147472186" r:id="rId13"/>
    <p:sldId id="2147472213" r:id="rId14"/>
    <p:sldId id="2147472211" r:id="rId15"/>
    <p:sldId id="2147472212" r:id="rId16"/>
    <p:sldId id="2147472172" r:id="rId17"/>
    <p:sldId id="2147472214" r:id="rId18"/>
    <p:sldId id="2147472215" r:id="rId19"/>
  </p:sldIdLst>
  <p:sldSz cx="12192000" cy="6858000"/>
  <p:notesSz cx="6797675" cy="9872663"/>
  <p:custDataLst>
    <p:tags r:id="rId2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56F5A28-39D5-03D3-A9F7-620AF16CCF4F}" name="Susan Runsten" initials="SR" userId="S::susan.runsten@businessregion.se::660b5056-8943-4a6c-9a20-4b3c4515894e" providerId="AD"/>
  <p188:author id="{B0F28E93-B648-2A68-4D5B-5F1CE31E4E71}" name="Karin Bjerner" initials="KB" userId="S::karin.bjerner@businessregion.se::90467e79-43be-4359-8102-3e4dd3926833" providerId="AD"/>
  <p188:author id="{DA2C1BA9-AA86-9CCB-2000-F60A3E8921BB}" name="Linda Emilsson" initials="LE" userId="S::linda.emilsson@businessregion.se::7ff7bd8a-669e-432a-86eb-3a5a40cc1a3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5776"/>
    <a:srgbClr val="FFFFFF"/>
    <a:srgbClr val="3B5676"/>
    <a:srgbClr val="D36248"/>
    <a:srgbClr val="366D6B"/>
    <a:srgbClr val="F0F0F0"/>
    <a:srgbClr val="F6F5F1"/>
    <a:srgbClr val="D9E7DE"/>
    <a:srgbClr val="D5E7DE"/>
    <a:srgbClr val="366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9FBBE0-A1D6-4E3B-BB6F-B164E9D5778E}" v="421" dt="2024-11-01T08:58:10.8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>
        <p:guide pos="3840"/>
        <p:guide pos="715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AD0CF5-B4E0-4E23-8214-8715558035F7}" type="doc">
      <dgm:prSet loTypeId="urn:microsoft.com/office/officeart/2005/8/layout/vProcess5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517B555-4CA9-4F28-B254-77EF2D6061C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Styrelsebeslut</a:t>
          </a:r>
          <a:r>
            <a:rPr lang="en-US" dirty="0"/>
            <a:t> 5 mars - </a:t>
          </a:r>
          <a:r>
            <a:rPr lang="en-US" dirty="0" err="1"/>
            <a:t>ansökan</a:t>
          </a:r>
          <a:r>
            <a:rPr lang="en-US" dirty="0"/>
            <a:t> 19 mars</a:t>
          </a:r>
        </a:p>
      </dgm:t>
    </dgm:pt>
    <dgm:pt modelId="{3617F612-DFFF-4B4E-A4CA-2DA8E0789638}" type="parTrans" cxnId="{C340F67F-4060-4553-B4B3-4B9B27E8CC1F}">
      <dgm:prSet/>
      <dgm:spPr/>
      <dgm:t>
        <a:bodyPr/>
        <a:lstStyle/>
        <a:p>
          <a:endParaRPr lang="en-US"/>
        </a:p>
      </dgm:t>
    </dgm:pt>
    <dgm:pt modelId="{CA12D0B1-30A9-4BCA-BC70-063DD7AA77BC}" type="sibTrans" cxnId="{C340F67F-4060-4553-B4B3-4B9B27E8CC1F}">
      <dgm:prSet/>
      <dgm:spPr/>
      <dgm:t>
        <a:bodyPr/>
        <a:lstStyle/>
        <a:p>
          <a:endParaRPr lang="en-US"/>
        </a:p>
      </dgm:t>
    </dgm:pt>
    <dgm:pt modelId="{6A2AF5DC-B92F-4ABF-8168-D016FB6A76C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Begäran</a:t>
          </a:r>
          <a:r>
            <a:rPr lang="en-US" dirty="0"/>
            <a:t> om </a:t>
          </a:r>
          <a:r>
            <a:rPr lang="en-US" dirty="0" err="1"/>
            <a:t>kompletteringar</a:t>
          </a:r>
          <a:r>
            <a:rPr lang="en-US" dirty="0"/>
            <a:t> </a:t>
          </a:r>
        </a:p>
      </dgm:t>
    </dgm:pt>
    <dgm:pt modelId="{68E89A22-180E-46C5-9BDC-67518F4B0076}" type="parTrans" cxnId="{8A183709-6152-46AB-9516-5264AE150212}">
      <dgm:prSet/>
      <dgm:spPr/>
      <dgm:t>
        <a:bodyPr/>
        <a:lstStyle/>
        <a:p>
          <a:endParaRPr lang="en-US"/>
        </a:p>
      </dgm:t>
    </dgm:pt>
    <dgm:pt modelId="{1BE3ED25-0588-41FA-AD07-CD0DE7FD858A}" type="sibTrans" cxnId="{8A183709-6152-46AB-9516-5264AE150212}">
      <dgm:prSet/>
      <dgm:spPr/>
      <dgm:t>
        <a:bodyPr/>
        <a:lstStyle/>
        <a:p>
          <a:endParaRPr lang="en-US"/>
        </a:p>
      </dgm:t>
    </dgm:pt>
    <dgm:pt modelId="{9F1F9E07-DE30-40BA-BB3D-8418602D67A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Beslut</a:t>
          </a:r>
          <a:r>
            <a:rPr lang="en-US" dirty="0"/>
            <a:t> om </a:t>
          </a:r>
          <a:r>
            <a:rPr lang="en-US" dirty="0" err="1"/>
            <a:t>stöd</a:t>
          </a:r>
          <a:r>
            <a:rPr lang="en-US" dirty="0"/>
            <a:t> 20 </a:t>
          </a:r>
          <a:r>
            <a:rPr lang="en-US" dirty="0" err="1"/>
            <a:t>juni</a:t>
          </a:r>
          <a:r>
            <a:rPr lang="en-US" dirty="0"/>
            <a:t> - </a:t>
          </a:r>
          <a:r>
            <a:rPr lang="en-US" dirty="0" err="1"/>
            <a:t>projektstart</a:t>
          </a:r>
          <a:r>
            <a:rPr lang="en-US" dirty="0"/>
            <a:t> 1 </a:t>
          </a:r>
          <a:r>
            <a:rPr lang="en-US" dirty="0" err="1"/>
            <a:t>augusti</a:t>
          </a:r>
          <a:r>
            <a:rPr lang="en-US" dirty="0"/>
            <a:t> </a:t>
          </a:r>
        </a:p>
      </dgm:t>
    </dgm:pt>
    <dgm:pt modelId="{F91EA030-A94B-4173-BB53-A2EE407F72A4}" type="parTrans" cxnId="{3577AB34-05BB-4DB6-A882-57DE8AD079C2}">
      <dgm:prSet/>
      <dgm:spPr/>
      <dgm:t>
        <a:bodyPr/>
        <a:lstStyle/>
        <a:p>
          <a:endParaRPr lang="en-US"/>
        </a:p>
      </dgm:t>
    </dgm:pt>
    <dgm:pt modelId="{800289EB-4CB2-4441-83A3-0D5653895FE2}" type="sibTrans" cxnId="{3577AB34-05BB-4DB6-A882-57DE8AD079C2}">
      <dgm:prSet/>
      <dgm:spPr/>
      <dgm:t>
        <a:bodyPr/>
        <a:lstStyle/>
        <a:p>
          <a:endParaRPr lang="en-US"/>
        </a:p>
      </dgm:t>
    </dgm:pt>
    <dgm:pt modelId="{195B91EF-D022-44F9-8EE1-BA05098A40E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Partneravtal</a:t>
          </a:r>
          <a:r>
            <a:rPr lang="en-US" dirty="0"/>
            <a:t> och </a:t>
          </a:r>
          <a:r>
            <a:rPr lang="en-US" dirty="0" err="1"/>
            <a:t>rekryteringar</a:t>
          </a:r>
          <a:endParaRPr lang="en-US" dirty="0"/>
        </a:p>
      </dgm:t>
    </dgm:pt>
    <dgm:pt modelId="{F387AEE0-2348-45FE-A549-D2942D1EF506}" type="parTrans" cxnId="{476C0478-8F6B-466D-B85B-EF1C23188D3C}">
      <dgm:prSet/>
      <dgm:spPr/>
      <dgm:t>
        <a:bodyPr/>
        <a:lstStyle/>
        <a:p>
          <a:endParaRPr lang="en-US"/>
        </a:p>
      </dgm:t>
    </dgm:pt>
    <dgm:pt modelId="{2DF8EB49-264C-4FA6-8CA4-0F4F502C6480}" type="sibTrans" cxnId="{476C0478-8F6B-466D-B85B-EF1C23188D3C}">
      <dgm:prSet/>
      <dgm:spPr/>
      <dgm:t>
        <a:bodyPr/>
        <a:lstStyle/>
        <a:p>
          <a:endParaRPr lang="en-US"/>
        </a:p>
      </dgm:t>
    </dgm:pt>
    <dgm:pt modelId="{6D4FABBF-99D9-4DE5-B101-C8672D9EF032}" type="pres">
      <dgm:prSet presAssocID="{9FAD0CF5-B4E0-4E23-8214-8715558035F7}" presName="outerComposite" presStyleCnt="0">
        <dgm:presLayoutVars>
          <dgm:chMax val="5"/>
          <dgm:dir/>
          <dgm:resizeHandles val="exact"/>
        </dgm:presLayoutVars>
      </dgm:prSet>
      <dgm:spPr/>
    </dgm:pt>
    <dgm:pt modelId="{ABDA45B3-C525-4B52-84A3-621AB0E3811D}" type="pres">
      <dgm:prSet presAssocID="{9FAD0CF5-B4E0-4E23-8214-8715558035F7}" presName="dummyMaxCanvas" presStyleCnt="0">
        <dgm:presLayoutVars/>
      </dgm:prSet>
      <dgm:spPr/>
    </dgm:pt>
    <dgm:pt modelId="{4E17B2D4-0354-45D3-A664-2CA969B256B4}" type="pres">
      <dgm:prSet presAssocID="{9FAD0CF5-B4E0-4E23-8214-8715558035F7}" presName="FourNodes_1" presStyleLbl="node1" presStyleIdx="0" presStyleCnt="4">
        <dgm:presLayoutVars>
          <dgm:bulletEnabled val="1"/>
        </dgm:presLayoutVars>
      </dgm:prSet>
      <dgm:spPr/>
    </dgm:pt>
    <dgm:pt modelId="{5A845E3E-17EC-4FB6-A699-3E71A3507E89}" type="pres">
      <dgm:prSet presAssocID="{9FAD0CF5-B4E0-4E23-8214-8715558035F7}" presName="FourNodes_2" presStyleLbl="node1" presStyleIdx="1" presStyleCnt="4">
        <dgm:presLayoutVars>
          <dgm:bulletEnabled val="1"/>
        </dgm:presLayoutVars>
      </dgm:prSet>
      <dgm:spPr/>
    </dgm:pt>
    <dgm:pt modelId="{B430FE73-631F-48ED-BB7D-3EE05E33DEBD}" type="pres">
      <dgm:prSet presAssocID="{9FAD0CF5-B4E0-4E23-8214-8715558035F7}" presName="FourNodes_3" presStyleLbl="node1" presStyleIdx="2" presStyleCnt="4">
        <dgm:presLayoutVars>
          <dgm:bulletEnabled val="1"/>
        </dgm:presLayoutVars>
      </dgm:prSet>
      <dgm:spPr/>
    </dgm:pt>
    <dgm:pt modelId="{A8CD9C00-605F-4121-A3D1-7D82319BD74A}" type="pres">
      <dgm:prSet presAssocID="{9FAD0CF5-B4E0-4E23-8214-8715558035F7}" presName="FourNodes_4" presStyleLbl="node1" presStyleIdx="3" presStyleCnt="4" custLinFactNeighborX="-19">
        <dgm:presLayoutVars>
          <dgm:bulletEnabled val="1"/>
        </dgm:presLayoutVars>
      </dgm:prSet>
      <dgm:spPr/>
    </dgm:pt>
    <dgm:pt modelId="{86D602B1-F0D2-4A4E-A656-40F906A33D79}" type="pres">
      <dgm:prSet presAssocID="{9FAD0CF5-B4E0-4E23-8214-8715558035F7}" presName="FourConn_1-2" presStyleLbl="fgAccFollowNode1" presStyleIdx="0" presStyleCnt="3">
        <dgm:presLayoutVars>
          <dgm:bulletEnabled val="1"/>
        </dgm:presLayoutVars>
      </dgm:prSet>
      <dgm:spPr/>
    </dgm:pt>
    <dgm:pt modelId="{B84CEDDF-CE2E-48CC-8267-48E3BAB8F65D}" type="pres">
      <dgm:prSet presAssocID="{9FAD0CF5-B4E0-4E23-8214-8715558035F7}" presName="FourConn_2-3" presStyleLbl="fgAccFollowNode1" presStyleIdx="1" presStyleCnt="3">
        <dgm:presLayoutVars>
          <dgm:bulletEnabled val="1"/>
        </dgm:presLayoutVars>
      </dgm:prSet>
      <dgm:spPr/>
    </dgm:pt>
    <dgm:pt modelId="{4BC46D4B-2D0A-45E5-A070-238ED619E3D2}" type="pres">
      <dgm:prSet presAssocID="{9FAD0CF5-B4E0-4E23-8214-8715558035F7}" presName="FourConn_3-4" presStyleLbl="fgAccFollowNode1" presStyleIdx="2" presStyleCnt="3">
        <dgm:presLayoutVars>
          <dgm:bulletEnabled val="1"/>
        </dgm:presLayoutVars>
      </dgm:prSet>
      <dgm:spPr/>
    </dgm:pt>
    <dgm:pt modelId="{77695E87-5D92-49E6-BC46-CFABE80AD17C}" type="pres">
      <dgm:prSet presAssocID="{9FAD0CF5-B4E0-4E23-8214-8715558035F7}" presName="FourNodes_1_text" presStyleLbl="node1" presStyleIdx="3" presStyleCnt="4">
        <dgm:presLayoutVars>
          <dgm:bulletEnabled val="1"/>
        </dgm:presLayoutVars>
      </dgm:prSet>
      <dgm:spPr/>
    </dgm:pt>
    <dgm:pt modelId="{E693014C-D320-4D48-9AA9-DE78985CCE04}" type="pres">
      <dgm:prSet presAssocID="{9FAD0CF5-B4E0-4E23-8214-8715558035F7}" presName="FourNodes_2_text" presStyleLbl="node1" presStyleIdx="3" presStyleCnt="4">
        <dgm:presLayoutVars>
          <dgm:bulletEnabled val="1"/>
        </dgm:presLayoutVars>
      </dgm:prSet>
      <dgm:spPr/>
    </dgm:pt>
    <dgm:pt modelId="{12B8DDD9-DF17-4A42-B90E-6FB2FD38FDBA}" type="pres">
      <dgm:prSet presAssocID="{9FAD0CF5-B4E0-4E23-8214-8715558035F7}" presName="FourNodes_3_text" presStyleLbl="node1" presStyleIdx="3" presStyleCnt="4">
        <dgm:presLayoutVars>
          <dgm:bulletEnabled val="1"/>
        </dgm:presLayoutVars>
      </dgm:prSet>
      <dgm:spPr/>
    </dgm:pt>
    <dgm:pt modelId="{55EC40F0-DAB2-4EB1-A2B2-2FBF3A5595E6}" type="pres">
      <dgm:prSet presAssocID="{9FAD0CF5-B4E0-4E23-8214-8715558035F7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6513E607-2A6F-4E04-8DD0-F38EAA368B22}" type="presOf" srcId="{800289EB-4CB2-4441-83A3-0D5653895FE2}" destId="{4BC46D4B-2D0A-45E5-A070-238ED619E3D2}" srcOrd="0" destOrd="0" presId="urn:microsoft.com/office/officeart/2005/8/layout/vProcess5"/>
    <dgm:cxn modelId="{8A183709-6152-46AB-9516-5264AE150212}" srcId="{9FAD0CF5-B4E0-4E23-8214-8715558035F7}" destId="{6A2AF5DC-B92F-4ABF-8168-D016FB6A76C1}" srcOrd="1" destOrd="0" parTransId="{68E89A22-180E-46C5-9BDC-67518F4B0076}" sibTransId="{1BE3ED25-0588-41FA-AD07-CD0DE7FD858A}"/>
    <dgm:cxn modelId="{15448E28-702C-47D9-8D05-35979E4DF4DF}" type="presOf" srcId="{6A2AF5DC-B92F-4ABF-8168-D016FB6A76C1}" destId="{5A845E3E-17EC-4FB6-A699-3E71A3507E89}" srcOrd="0" destOrd="0" presId="urn:microsoft.com/office/officeart/2005/8/layout/vProcess5"/>
    <dgm:cxn modelId="{3577AB34-05BB-4DB6-A882-57DE8AD079C2}" srcId="{9FAD0CF5-B4E0-4E23-8214-8715558035F7}" destId="{9F1F9E07-DE30-40BA-BB3D-8418602D67AC}" srcOrd="2" destOrd="0" parTransId="{F91EA030-A94B-4173-BB53-A2EE407F72A4}" sibTransId="{800289EB-4CB2-4441-83A3-0D5653895FE2}"/>
    <dgm:cxn modelId="{48209C3C-4615-40F1-B5B2-0A1B1457FFFB}" type="presOf" srcId="{195B91EF-D022-44F9-8EE1-BA05098A40E9}" destId="{55EC40F0-DAB2-4EB1-A2B2-2FBF3A5595E6}" srcOrd="1" destOrd="0" presId="urn:microsoft.com/office/officeart/2005/8/layout/vProcess5"/>
    <dgm:cxn modelId="{E59CAA3F-6697-46D9-AF82-61C07E74D3B4}" type="presOf" srcId="{1517B555-4CA9-4F28-B254-77EF2D6061C7}" destId="{4E17B2D4-0354-45D3-A664-2CA969B256B4}" srcOrd="0" destOrd="0" presId="urn:microsoft.com/office/officeart/2005/8/layout/vProcess5"/>
    <dgm:cxn modelId="{6FB97363-B161-4AD1-B2B6-1AEB792C8052}" type="presOf" srcId="{1BE3ED25-0588-41FA-AD07-CD0DE7FD858A}" destId="{B84CEDDF-CE2E-48CC-8267-48E3BAB8F65D}" srcOrd="0" destOrd="0" presId="urn:microsoft.com/office/officeart/2005/8/layout/vProcess5"/>
    <dgm:cxn modelId="{476C0478-8F6B-466D-B85B-EF1C23188D3C}" srcId="{9FAD0CF5-B4E0-4E23-8214-8715558035F7}" destId="{195B91EF-D022-44F9-8EE1-BA05098A40E9}" srcOrd="3" destOrd="0" parTransId="{F387AEE0-2348-45FE-A549-D2942D1EF506}" sibTransId="{2DF8EB49-264C-4FA6-8CA4-0F4F502C6480}"/>
    <dgm:cxn modelId="{F11AF37B-2EC5-4775-B1EA-9C1C14754B74}" type="presOf" srcId="{9FAD0CF5-B4E0-4E23-8214-8715558035F7}" destId="{6D4FABBF-99D9-4DE5-B101-C8672D9EF032}" srcOrd="0" destOrd="0" presId="urn:microsoft.com/office/officeart/2005/8/layout/vProcess5"/>
    <dgm:cxn modelId="{C340F67F-4060-4553-B4B3-4B9B27E8CC1F}" srcId="{9FAD0CF5-B4E0-4E23-8214-8715558035F7}" destId="{1517B555-4CA9-4F28-B254-77EF2D6061C7}" srcOrd="0" destOrd="0" parTransId="{3617F612-DFFF-4B4E-A4CA-2DA8E0789638}" sibTransId="{CA12D0B1-30A9-4BCA-BC70-063DD7AA77BC}"/>
    <dgm:cxn modelId="{A0029494-2613-4805-8289-3BCFBB5C33C8}" type="presOf" srcId="{9F1F9E07-DE30-40BA-BB3D-8418602D67AC}" destId="{12B8DDD9-DF17-4A42-B90E-6FB2FD38FDBA}" srcOrd="1" destOrd="0" presId="urn:microsoft.com/office/officeart/2005/8/layout/vProcess5"/>
    <dgm:cxn modelId="{E2DDF1B5-EE9D-462A-AA59-26C9B41D438F}" type="presOf" srcId="{6A2AF5DC-B92F-4ABF-8168-D016FB6A76C1}" destId="{E693014C-D320-4D48-9AA9-DE78985CCE04}" srcOrd="1" destOrd="0" presId="urn:microsoft.com/office/officeart/2005/8/layout/vProcess5"/>
    <dgm:cxn modelId="{E25513C6-53FB-413C-98C3-0DC0E3B68C11}" type="presOf" srcId="{CA12D0B1-30A9-4BCA-BC70-063DD7AA77BC}" destId="{86D602B1-F0D2-4A4E-A656-40F906A33D79}" srcOrd="0" destOrd="0" presId="urn:microsoft.com/office/officeart/2005/8/layout/vProcess5"/>
    <dgm:cxn modelId="{95AF3ED0-CCF9-40B5-9484-8D8CB2A20C3D}" type="presOf" srcId="{195B91EF-D022-44F9-8EE1-BA05098A40E9}" destId="{A8CD9C00-605F-4121-A3D1-7D82319BD74A}" srcOrd="0" destOrd="0" presId="urn:microsoft.com/office/officeart/2005/8/layout/vProcess5"/>
    <dgm:cxn modelId="{114059D3-9159-41D4-8DF5-A39D2EC78649}" type="presOf" srcId="{9F1F9E07-DE30-40BA-BB3D-8418602D67AC}" destId="{B430FE73-631F-48ED-BB7D-3EE05E33DEBD}" srcOrd="0" destOrd="0" presId="urn:microsoft.com/office/officeart/2005/8/layout/vProcess5"/>
    <dgm:cxn modelId="{E12EF9F4-EDC1-4CBE-A14E-FB4B31F28079}" type="presOf" srcId="{1517B555-4CA9-4F28-B254-77EF2D6061C7}" destId="{77695E87-5D92-49E6-BC46-CFABE80AD17C}" srcOrd="1" destOrd="0" presId="urn:microsoft.com/office/officeart/2005/8/layout/vProcess5"/>
    <dgm:cxn modelId="{4B12BB25-DC5D-4584-BECD-342DC1938CCC}" type="presParOf" srcId="{6D4FABBF-99D9-4DE5-B101-C8672D9EF032}" destId="{ABDA45B3-C525-4B52-84A3-621AB0E3811D}" srcOrd="0" destOrd="0" presId="urn:microsoft.com/office/officeart/2005/8/layout/vProcess5"/>
    <dgm:cxn modelId="{7DD5EF4B-4739-4AAF-B654-9D7C74853F01}" type="presParOf" srcId="{6D4FABBF-99D9-4DE5-B101-C8672D9EF032}" destId="{4E17B2D4-0354-45D3-A664-2CA969B256B4}" srcOrd="1" destOrd="0" presId="urn:microsoft.com/office/officeart/2005/8/layout/vProcess5"/>
    <dgm:cxn modelId="{9DFA56B9-953C-440E-B9C0-912F152AE820}" type="presParOf" srcId="{6D4FABBF-99D9-4DE5-B101-C8672D9EF032}" destId="{5A845E3E-17EC-4FB6-A699-3E71A3507E89}" srcOrd="2" destOrd="0" presId="urn:microsoft.com/office/officeart/2005/8/layout/vProcess5"/>
    <dgm:cxn modelId="{F3029DC4-605C-415F-A82D-C9F3DDB7E57C}" type="presParOf" srcId="{6D4FABBF-99D9-4DE5-B101-C8672D9EF032}" destId="{B430FE73-631F-48ED-BB7D-3EE05E33DEBD}" srcOrd="3" destOrd="0" presId="urn:microsoft.com/office/officeart/2005/8/layout/vProcess5"/>
    <dgm:cxn modelId="{9F905B5A-3B84-4B96-9E7C-EA670D69E87E}" type="presParOf" srcId="{6D4FABBF-99D9-4DE5-B101-C8672D9EF032}" destId="{A8CD9C00-605F-4121-A3D1-7D82319BD74A}" srcOrd="4" destOrd="0" presId="urn:microsoft.com/office/officeart/2005/8/layout/vProcess5"/>
    <dgm:cxn modelId="{38B404DE-9EE4-4334-BE6F-345D56D18324}" type="presParOf" srcId="{6D4FABBF-99D9-4DE5-B101-C8672D9EF032}" destId="{86D602B1-F0D2-4A4E-A656-40F906A33D79}" srcOrd="5" destOrd="0" presId="urn:microsoft.com/office/officeart/2005/8/layout/vProcess5"/>
    <dgm:cxn modelId="{8A3158AB-1C6D-4FC3-9DA9-0160BD64707B}" type="presParOf" srcId="{6D4FABBF-99D9-4DE5-B101-C8672D9EF032}" destId="{B84CEDDF-CE2E-48CC-8267-48E3BAB8F65D}" srcOrd="6" destOrd="0" presId="urn:microsoft.com/office/officeart/2005/8/layout/vProcess5"/>
    <dgm:cxn modelId="{26BC7A2C-8A31-465D-8C2A-C8682D0A224C}" type="presParOf" srcId="{6D4FABBF-99D9-4DE5-B101-C8672D9EF032}" destId="{4BC46D4B-2D0A-45E5-A070-238ED619E3D2}" srcOrd="7" destOrd="0" presId="urn:microsoft.com/office/officeart/2005/8/layout/vProcess5"/>
    <dgm:cxn modelId="{FD927A16-B261-4A93-B0C8-8B795AF8A994}" type="presParOf" srcId="{6D4FABBF-99D9-4DE5-B101-C8672D9EF032}" destId="{77695E87-5D92-49E6-BC46-CFABE80AD17C}" srcOrd="8" destOrd="0" presId="urn:microsoft.com/office/officeart/2005/8/layout/vProcess5"/>
    <dgm:cxn modelId="{6FD9CD55-8DEE-4C0C-ADD7-5CD1CC9FD504}" type="presParOf" srcId="{6D4FABBF-99D9-4DE5-B101-C8672D9EF032}" destId="{E693014C-D320-4D48-9AA9-DE78985CCE04}" srcOrd="9" destOrd="0" presId="urn:microsoft.com/office/officeart/2005/8/layout/vProcess5"/>
    <dgm:cxn modelId="{043D3952-B0F4-4DD4-B7AB-DCF2C0AEE3C9}" type="presParOf" srcId="{6D4FABBF-99D9-4DE5-B101-C8672D9EF032}" destId="{12B8DDD9-DF17-4A42-B90E-6FB2FD38FDBA}" srcOrd="10" destOrd="0" presId="urn:microsoft.com/office/officeart/2005/8/layout/vProcess5"/>
    <dgm:cxn modelId="{618992B9-3298-425E-B948-CEA0D568AE4B}" type="presParOf" srcId="{6D4FABBF-99D9-4DE5-B101-C8672D9EF032}" destId="{55EC40F0-DAB2-4EB1-A2B2-2FBF3A5595E6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17B2D4-0354-45D3-A664-2CA969B256B4}">
      <dsp:nvSpPr>
        <dsp:cNvPr id="0" name=""/>
        <dsp:cNvSpPr/>
      </dsp:nvSpPr>
      <dsp:spPr>
        <a:xfrm>
          <a:off x="0" y="0"/>
          <a:ext cx="8412480" cy="8755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 err="1"/>
            <a:t>Styrelsebeslut</a:t>
          </a:r>
          <a:r>
            <a:rPr lang="en-US" sz="2700" kern="1200" dirty="0"/>
            <a:t> 5 mars - </a:t>
          </a:r>
          <a:r>
            <a:rPr lang="en-US" sz="2700" kern="1200" dirty="0" err="1"/>
            <a:t>ansökan</a:t>
          </a:r>
          <a:r>
            <a:rPr lang="en-US" sz="2700" kern="1200" dirty="0"/>
            <a:t> 19 mars</a:t>
          </a:r>
        </a:p>
      </dsp:txBody>
      <dsp:txXfrm>
        <a:off x="25645" y="25645"/>
        <a:ext cx="7393685" cy="824279"/>
      </dsp:txXfrm>
    </dsp:sp>
    <dsp:sp modelId="{5A845E3E-17EC-4FB6-A699-3E71A3507E89}">
      <dsp:nvSpPr>
        <dsp:cNvPr id="0" name=""/>
        <dsp:cNvSpPr/>
      </dsp:nvSpPr>
      <dsp:spPr>
        <a:xfrm>
          <a:off x="704545" y="1034764"/>
          <a:ext cx="8412480" cy="8755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 err="1"/>
            <a:t>Begäran</a:t>
          </a:r>
          <a:r>
            <a:rPr lang="en-US" sz="2700" kern="1200" dirty="0"/>
            <a:t> om </a:t>
          </a:r>
          <a:r>
            <a:rPr lang="en-US" sz="2700" kern="1200" dirty="0" err="1"/>
            <a:t>kompletteringar</a:t>
          </a:r>
          <a:r>
            <a:rPr lang="en-US" sz="2700" kern="1200" dirty="0"/>
            <a:t> </a:t>
          </a:r>
        </a:p>
      </dsp:txBody>
      <dsp:txXfrm>
        <a:off x="730190" y="1060409"/>
        <a:ext cx="7087524" cy="824279"/>
      </dsp:txXfrm>
    </dsp:sp>
    <dsp:sp modelId="{B430FE73-631F-48ED-BB7D-3EE05E33DEBD}">
      <dsp:nvSpPr>
        <dsp:cNvPr id="0" name=""/>
        <dsp:cNvSpPr/>
      </dsp:nvSpPr>
      <dsp:spPr>
        <a:xfrm>
          <a:off x="1398574" y="2069528"/>
          <a:ext cx="8412480" cy="8755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 err="1"/>
            <a:t>Beslut</a:t>
          </a:r>
          <a:r>
            <a:rPr lang="en-US" sz="2700" kern="1200" dirty="0"/>
            <a:t> om </a:t>
          </a:r>
          <a:r>
            <a:rPr lang="en-US" sz="2700" kern="1200" dirty="0" err="1"/>
            <a:t>stöd</a:t>
          </a:r>
          <a:r>
            <a:rPr lang="en-US" sz="2700" kern="1200" dirty="0"/>
            <a:t> 20 </a:t>
          </a:r>
          <a:r>
            <a:rPr lang="en-US" sz="2700" kern="1200" dirty="0" err="1"/>
            <a:t>juni</a:t>
          </a:r>
          <a:r>
            <a:rPr lang="en-US" sz="2700" kern="1200" dirty="0"/>
            <a:t> - </a:t>
          </a:r>
          <a:r>
            <a:rPr lang="en-US" sz="2700" kern="1200" dirty="0" err="1"/>
            <a:t>projektstart</a:t>
          </a:r>
          <a:r>
            <a:rPr lang="en-US" sz="2700" kern="1200" dirty="0"/>
            <a:t> 1 </a:t>
          </a:r>
          <a:r>
            <a:rPr lang="en-US" sz="2700" kern="1200" dirty="0" err="1"/>
            <a:t>augusti</a:t>
          </a:r>
          <a:r>
            <a:rPr lang="en-US" sz="2700" kern="1200" dirty="0"/>
            <a:t> </a:t>
          </a:r>
        </a:p>
      </dsp:txBody>
      <dsp:txXfrm>
        <a:off x="1424219" y="2095173"/>
        <a:ext cx="7098039" cy="824279"/>
      </dsp:txXfrm>
    </dsp:sp>
    <dsp:sp modelId="{A8CD9C00-605F-4121-A3D1-7D82319BD74A}">
      <dsp:nvSpPr>
        <dsp:cNvPr id="0" name=""/>
        <dsp:cNvSpPr/>
      </dsp:nvSpPr>
      <dsp:spPr>
        <a:xfrm>
          <a:off x="2101521" y="3104293"/>
          <a:ext cx="8412480" cy="8755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 err="1"/>
            <a:t>Partneravtal</a:t>
          </a:r>
          <a:r>
            <a:rPr lang="en-US" sz="2700" kern="1200" dirty="0"/>
            <a:t> och </a:t>
          </a:r>
          <a:r>
            <a:rPr lang="en-US" sz="2700" kern="1200" dirty="0" err="1"/>
            <a:t>rekryteringar</a:t>
          </a:r>
          <a:endParaRPr lang="en-US" sz="2700" kern="1200" dirty="0"/>
        </a:p>
      </dsp:txBody>
      <dsp:txXfrm>
        <a:off x="2127166" y="3129938"/>
        <a:ext cx="7087524" cy="824279"/>
      </dsp:txXfrm>
    </dsp:sp>
    <dsp:sp modelId="{86D602B1-F0D2-4A4E-A656-40F906A33D79}">
      <dsp:nvSpPr>
        <dsp:cNvPr id="0" name=""/>
        <dsp:cNvSpPr/>
      </dsp:nvSpPr>
      <dsp:spPr>
        <a:xfrm>
          <a:off x="7843359" y="670606"/>
          <a:ext cx="569120" cy="569120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700" kern="1200"/>
        </a:p>
      </dsp:txBody>
      <dsp:txXfrm>
        <a:off x="7971411" y="670606"/>
        <a:ext cx="313016" cy="428263"/>
      </dsp:txXfrm>
    </dsp:sp>
    <dsp:sp modelId="{B84CEDDF-CE2E-48CC-8267-48E3BAB8F65D}">
      <dsp:nvSpPr>
        <dsp:cNvPr id="0" name=""/>
        <dsp:cNvSpPr/>
      </dsp:nvSpPr>
      <dsp:spPr>
        <a:xfrm>
          <a:off x="8547904" y="1705371"/>
          <a:ext cx="569120" cy="569120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700" kern="1200"/>
        </a:p>
      </dsp:txBody>
      <dsp:txXfrm>
        <a:off x="8675956" y="1705371"/>
        <a:ext cx="313016" cy="428263"/>
      </dsp:txXfrm>
    </dsp:sp>
    <dsp:sp modelId="{4BC46D4B-2D0A-45E5-A070-238ED619E3D2}">
      <dsp:nvSpPr>
        <dsp:cNvPr id="0" name=""/>
        <dsp:cNvSpPr/>
      </dsp:nvSpPr>
      <dsp:spPr>
        <a:xfrm>
          <a:off x="9241934" y="2740135"/>
          <a:ext cx="569120" cy="569120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700" kern="1200"/>
        </a:p>
      </dsp:txBody>
      <dsp:txXfrm>
        <a:off x="9369986" y="2740135"/>
        <a:ext cx="313016" cy="4282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8477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8477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79450" y="153666"/>
            <a:ext cx="5438775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82849" y="9224811"/>
            <a:ext cx="1473201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01/11/2024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1235075"/>
            <a:ext cx="5410200" cy="3043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50815"/>
            <a:ext cx="5438775" cy="38871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62237" y="9224811"/>
            <a:ext cx="1473200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888" y="9039714"/>
            <a:ext cx="1056312" cy="67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93738" y="1235075"/>
            <a:ext cx="5410200" cy="304323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esentation Linda </a:t>
            </a:r>
            <a:r>
              <a:rPr lang="en-GB" err="1"/>
              <a:t>och</a:t>
            </a:r>
            <a:r>
              <a:rPr lang="en-GB"/>
              <a:t> Karin</a:t>
            </a:r>
          </a:p>
          <a:p>
            <a:r>
              <a:rPr lang="en-GB"/>
              <a:t>Ange </a:t>
            </a:r>
            <a:r>
              <a:rPr lang="en-GB" err="1"/>
              <a:t>kontaktperson</a:t>
            </a:r>
            <a:r>
              <a:rPr lang="en-GB"/>
              <a:t> för </a:t>
            </a:r>
            <a:r>
              <a:rPr lang="en-GB" err="1"/>
              <a:t>ekonomiansvarig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underlaget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lämna</a:t>
            </a:r>
            <a:r>
              <a:rPr lang="en-GB"/>
              <a:t> till </a:t>
            </a:r>
            <a:r>
              <a:rPr lang="en-GB" err="1"/>
              <a:t>oss</a:t>
            </a:r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1AA035A1-4F7F-49DA-A856-F85B86D7186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599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93738" y="1235075"/>
            <a:ext cx="5410200" cy="304323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i="0" err="1">
                <a:solidFill>
                  <a:srgbClr val="040C28"/>
                </a:solidFill>
                <a:effectLst/>
                <a:latin typeface="Google Sans"/>
              </a:rPr>
              <a:t>Quadruple</a:t>
            </a:r>
            <a:r>
              <a:rPr lang="sv-SE" b="0" i="0">
                <a:solidFill>
                  <a:srgbClr val="040C28"/>
                </a:solidFill>
                <a:effectLst/>
                <a:latin typeface="Google Sans"/>
              </a:rPr>
              <a:t> helix</a:t>
            </a:r>
            <a:r>
              <a:rPr lang="sv-SE" b="0" i="0">
                <a:solidFill>
                  <a:srgbClr val="1F1F1F"/>
                </a:solidFill>
                <a:effectLst/>
                <a:highlight>
                  <a:srgbClr val="FFFFFF"/>
                </a:highlight>
                <a:latin typeface="Google Sans"/>
              </a:rPr>
              <a:t> innebär en vidgning av tidigare regionala innovationssystem (RIS) som till stor del bygger på </a:t>
            </a:r>
            <a:r>
              <a:rPr lang="sv-SE" b="0" i="0" err="1">
                <a:solidFill>
                  <a:srgbClr val="1F1F1F"/>
                </a:solidFill>
                <a:effectLst/>
                <a:highlight>
                  <a:srgbClr val="FFFFFF"/>
                </a:highlight>
                <a:latin typeface="Google Sans"/>
              </a:rPr>
              <a:t>triple</a:t>
            </a:r>
            <a:r>
              <a:rPr lang="sv-SE" b="0" i="0">
                <a:solidFill>
                  <a:srgbClr val="1F1F1F"/>
                </a:solidFill>
                <a:effectLst/>
                <a:highlight>
                  <a:srgbClr val="FFFFFF"/>
                </a:highlight>
                <a:latin typeface="Google Sans"/>
              </a:rPr>
              <a:t> </a:t>
            </a:r>
            <a:r>
              <a:rPr lang="sv-SE" b="0" i="0">
                <a:solidFill>
                  <a:srgbClr val="040C28"/>
                </a:solidFill>
                <a:effectLst/>
                <a:latin typeface="Google Sans"/>
              </a:rPr>
              <a:t>helix</a:t>
            </a:r>
            <a:r>
              <a:rPr lang="sv-SE" b="0" i="0">
                <a:solidFill>
                  <a:srgbClr val="1F1F1F"/>
                </a:solidFill>
                <a:effectLst/>
                <a:highlight>
                  <a:srgbClr val="FFFFFF"/>
                </a:highlight>
                <a:latin typeface="Google Sans"/>
              </a:rPr>
              <a:t>, det vill säga samverkan mellan akademi, myndigheter och näringsliv. </a:t>
            </a:r>
            <a:r>
              <a:rPr lang="sv-SE" b="0" i="0" err="1">
                <a:solidFill>
                  <a:srgbClr val="040C28"/>
                </a:solidFill>
                <a:effectLst/>
                <a:latin typeface="Google Sans"/>
              </a:rPr>
              <a:t>Quadruple</a:t>
            </a:r>
            <a:r>
              <a:rPr lang="sv-SE" b="0" i="0">
                <a:solidFill>
                  <a:srgbClr val="040C28"/>
                </a:solidFill>
                <a:effectLst/>
                <a:latin typeface="Google Sans"/>
              </a:rPr>
              <a:t> helix</a:t>
            </a:r>
            <a:r>
              <a:rPr lang="sv-SE" b="0" i="0">
                <a:solidFill>
                  <a:srgbClr val="1F1F1F"/>
                </a:solidFill>
                <a:effectLst/>
                <a:highlight>
                  <a:srgbClr val="FFFFFF"/>
                </a:highlight>
                <a:latin typeface="Google Sans"/>
              </a:rPr>
              <a:t> inkluderar även det civila samhället.</a:t>
            </a:r>
            <a:endParaRPr lang="sv-SE">
              <a:cs typeface="Calibri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7CF570-1B6C-4C5C-BD30-5625CF8F511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412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93738" y="1235075"/>
            <a:ext cx="5410200" cy="304323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498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451890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2193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440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utomhus, vatten, landskap, vattenväg&#10;&#10;Automatiskt genererad beskrivning">
            <a:extLst>
              <a:ext uri="{FF2B5EF4-FFF2-40B4-BE49-F238E27FC236}">
                <a16:creationId xmlns:a16="http://schemas.microsoft.com/office/drawing/2014/main" id="{27849FC5-6D39-5951-956E-3F779A1648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01445" y="-1261481"/>
            <a:ext cx="12991171" cy="8119482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himmel, utomhus, flera&#10;&#10;Automatiskt genererad beskrivning">
            <a:extLst>
              <a:ext uri="{FF2B5EF4-FFF2-40B4-BE49-F238E27FC236}">
                <a16:creationId xmlns:a16="http://schemas.microsoft.com/office/drawing/2014/main" id="{AB68B31A-1E54-4F66-A3F8-68DCC3EA20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" y="0"/>
            <a:ext cx="12190588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3514" y="551915"/>
            <a:ext cx="1846734" cy="1612020"/>
          </a:xfrm>
          <a:prstGeom prst="hexagon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938311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6951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BB0880BD-6F11-D8D4-7445-85CBF4187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7706" r="377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4023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3"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599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4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14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5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325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4102294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9975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963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>
            <a:lvl1pPr>
              <a:defRPr lang="sv-SE"/>
            </a:lvl1pPr>
          </a:lstStyle>
          <a:p>
            <a:pPr lvl="0"/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8086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 och 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DD48E0-4C15-BD2B-0D34-2BE08F567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93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D48E0-4C15-BD2B-0D34-2BE08F567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3900" y="2454276"/>
            <a:ext cx="7556500" cy="1882775"/>
          </a:xfrm>
        </p:spPr>
        <p:txBody>
          <a:bodyPr vert="horz"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C6EA4766-8B21-3902-6DC6-BEA1D67240C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4388" y="2454276"/>
            <a:ext cx="2324100" cy="18827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err="1"/>
              <a:t>Ifoga</a:t>
            </a:r>
            <a:r>
              <a:rPr lang="sv-SE"/>
              <a:t> ikon eller </a:t>
            </a:r>
            <a:br>
              <a:rPr lang="sv-SE"/>
            </a:br>
            <a:r>
              <a:rPr lang="sv-SE"/>
              <a:t>ta bort</a:t>
            </a:r>
          </a:p>
        </p:txBody>
      </p:sp>
    </p:spTree>
    <p:extLst>
      <p:ext uri="{BB962C8B-B14F-4D97-AF65-F5344CB8AC3E}">
        <p14:creationId xmlns:p14="http://schemas.microsoft.com/office/powerpoint/2010/main" val="2559967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psmall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3BF20226-0A3C-BDC6-26B8-9AE90B2399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1850" y="-527623"/>
            <a:ext cx="3092450" cy="7786747"/>
          </a:xfrm>
        </p:spPr>
        <p:txBody>
          <a:bodyPr>
            <a:spAutoFit/>
          </a:bodyPr>
          <a:lstStyle>
            <a:lvl1pPr marL="0" indent="0">
              <a:buNone/>
              <a:defRPr sz="50000" b="1" i="1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sv-SE"/>
              <a:t>1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fylla i tips och klicka på siffran under för att fylla i numre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145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36483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7958306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83153" y="4858742"/>
            <a:ext cx="8558609" cy="869262"/>
          </a:xfrm>
        </p:spPr>
        <p:txBody>
          <a:bodyPr lIns="0" tIns="0" rIns="0" bIns="0" anchor="b">
            <a:noAutofit/>
          </a:bodyPr>
          <a:lstStyle>
            <a:lvl1pPr marL="627063" indent="-627063" algn="l">
              <a:buFontTx/>
              <a:buBlip>
                <a:blip r:embed="rId3"/>
              </a:buBlip>
              <a:defRPr sz="5000" b="1" baseline="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24355" y="5766875"/>
            <a:ext cx="7917406" cy="39269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Skriv text här</a:t>
            </a:r>
          </a:p>
        </p:txBody>
      </p:sp>
      <p:sp>
        <p:nvSpPr>
          <p:cNvPr id="22" name="Datum"/>
          <p:cNvSpPr>
            <a:spLocks noGrp="1"/>
          </p:cNvSpPr>
          <p:nvPr>
            <p:ph type="body" sz="quarter" idx="10" hasCustomPrompt="1"/>
          </p:nvPr>
        </p:nvSpPr>
        <p:spPr>
          <a:xfrm>
            <a:off x="1644377" y="6261400"/>
            <a:ext cx="7673975" cy="2880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2000">
                <a:latin typeface="+mj-lt"/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15" name="Rätvinklig triangel 14"/>
          <p:cNvSpPr/>
          <p:nvPr userDrawn="1"/>
        </p:nvSpPr>
        <p:spPr>
          <a:xfrm rot="5400000">
            <a:off x="23978" y="-18666"/>
            <a:ext cx="4361188" cy="4398523"/>
          </a:xfrm>
          <a:prstGeom prst="rtTriangle">
            <a:avLst/>
          </a:prstGeom>
          <a:solidFill>
            <a:srgbClr val="0076C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extruta 3"/>
          <p:cNvSpPr txBox="1"/>
          <p:nvPr userDrawn="1"/>
        </p:nvSpPr>
        <p:spPr>
          <a:xfrm>
            <a:off x="0" y="-297636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>
                <a:solidFill>
                  <a:srgbClr val="FF0000"/>
                </a:solidFill>
              </a:rPr>
              <a:t>Välj Infoga bild från Bildarkivet för Tillväxtverkets bilder och illustrationer. Se även mallsida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0942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778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3002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95829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1946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41135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0948869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45197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1075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95914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70164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6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3467257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3970923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676283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131041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812AEC-E192-C22D-2BAE-C05284119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165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0BE69652-8F76-560F-5F71-03A8AEF6A1C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rgbClr val="3B5676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55625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7305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90475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0790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0" name="Platshållare för bild 10">
            <a:extLst>
              <a:ext uri="{FF2B5EF4-FFF2-40B4-BE49-F238E27FC236}">
                <a16:creationId xmlns:a16="http://schemas.microsoft.com/office/drawing/2014/main" id="{12323294-130C-55E1-C503-7639B30C0AF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47833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la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D803B9FA-FF49-6B81-4048-35D0CDBD8E4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93033" y="1777897"/>
            <a:ext cx="3897306" cy="3302205"/>
          </a:xfrm>
          <a:prstGeom prst="hexagon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Platshållare för text 26">
            <a:extLst>
              <a:ext uri="{FF2B5EF4-FFF2-40B4-BE49-F238E27FC236}">
                <a16:creationId xmlns:a16="http://schemas.microsoft.com/office/drawing/2014/main" id="{71D7E928-0082-8987-87B6-8458E38A33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72200" y="1777897"/>
            <a:ext cx="4819650" cy="3302205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sv-SE" sz="40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50182D2-5F57-0D86-BDAD-6932F3850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3208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indelare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57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latshållare för text 26">
            <a:extLst>
              <a:ext uri="{FF2B5EF4-FFF2-40B4-BE49-F238E27FC236}">
                <a16:creationId xmlns:a16="http://schemas.microsoft.com/office/drawing/2014/main" id="{9FFB8AC5-0896-2662-9F25-F014F732AC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1089" y="807614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  <p:sp>
        <p:nvSpPr>
          <p:cNvPr id="22" name="Platshållare för text 18">
            <a:extLst>
              <a:ext uri="{FF2B5EF4-FFF2-40B4-BE49-F238E27FC236}">
                <a16:creationId xmlns:a16="http://schemas.microsoft.com/office/drawing/2014/main" id="{197E462F-9720-062D-5549-205843F0D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70682" y="784807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23" name="Platshållare för text 18">
            <a:extLst>
              <a:ext uri="{FF2B5EF4-FFF2-40B4-BE49-F238E27FC236}">
                <a16:creationId xmlns:a16="http://schemas.microsoft.com/office/drawing/2014/main" id="{2B6FE767-2693-92C8-9C28-7489DFA510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0682" y="2153090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24" name="Platshållare för text 18">
            <a:extLst>
              <a:ext uri="{FF2B5EF4-FFF2-40B4-BE49-F238E27FC236}">
                <a16:creationId xmlns:a16="http://schemas.microsoft.com/office/drawing/2014/main" id="{0E0A2C84-798E-F190-CC1D-87D7E24C33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70682" y="3521373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25" name="Platshållare för text 18">
            <a:extLst>
              <a:ext uri="{FF2B5EF4-FFF2-40B4-BE49-F238E27FC236}">
                <a16:creationId xmlns:a16="http://schemas.microsoft.com/office/drawing/2014/main" id="{99A88FE9-5548-F261-C8D8-FF14FEE801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70682" y="4889656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510540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282" y="3429000"/>
            <a:ext cx="3342489" cy="1655762"/>
          </a:xfrm>
        </p:spPr>
        <p:txBody>
          <a:bodyPr vert="horz" anchor="t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Platshållare för bild 11">
            <a:extLst>
              <a:ext uri="{FF2B5EF4-FFF2-40B4-BE49-F238E27FC236}">
                <a16:creationId xmlns:a16="http://schemas.microsoft.com/office/drawing/2014/main" id="{DBBF04D5-A3EE-1D1F-C6A1-2DA82C58E9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013" y="1439863"/>
            <a:ext cx="3328987" cy="191135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Infoga ikon eller ta bort</a:t>
            </a:r>
          </a:p>
        </p:txBody>
      </p:sp>
      <p:sp>
        <p:nvSpPr>
          <p:cNvPr id="31" name="Platshållare för text 26">
            <a:extLst>
              <a:ext uri="{FF2B5EF4-FFF2-40B4-BE49-F238E27FC236}">
                <a16:creationId xmlns:a16="http://schemas.microsoft.com/office/drawing/2014/main" id="{FEE25A2D-8889-7370-B982-4EC21B7039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1089" y="2153078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  <p:sp>
        <p:nvSpPr>
          <p:cNvPr id="32" name="Platshållare för text 26">
            <a:extLst>
              <a:ext uri="{FF2B5EF4-FFF2-40B4-BE49-F238E27FC236}">
                <a16:creationId xmlns:a16="http://schemas.microsoft.com/office/drawing/2014/main" id="{0360CA6F-EB2B-3107-1487-759FA9D4DA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01089" y="3521361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  <p:sp>
        <p:nvSpPr>
          <p:cNvPr id="33" name="Platshållare för text 26">
            <a:extLst>
              <a:ext uri="{FF2B5EF4-FFF2-40B4-BE49-F238E27FC236}">
                <a16:creationId xmlns:a16="http://schemas.microsoft.com/office/drawing/2014/main" id="{B434D658-6866-69B0-FB89-46A668D640B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01089" y="4889644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825936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 st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6CAD0FBF-2934-0D32-E515-8ED3F228A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38600" y="1808163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1FA5CF09-6110-7716-DF1A-157B645CC0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1800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11FC75C8-64AD-E81C-36AC-C1BC79A8A7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38600" y="3417477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9" name="Platshållare för bild 10">
            <a:extLst>
              <a:ext uri="{FF2B5EF4-FFF2-40B4-BE49-F238E27FC236}">
                <a16:creationId xmlns:a16="http://schemas.microsoft.com/office/drawing/2014/main" id="{3686BE1A-4517-2853-9803-D0135ED590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11800" y="4222133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40FF5823-C58D-1074-39C5-859487C86CF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60438" y="2239757"/>
            <a:ext cx="2955925" cy="628650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892B38BF-D025-22D6-4A17-C44ECBEEE7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0438" y="3853715"/>
            <a:ext cx="2955925" cy="628650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text 10">
            <a:extLst>
              <a:ext uri="{FF2B5EF4-FFF2-40B4-BE49-F238E27FC236}">
                <a16:creationId xmlns:a16="http://schemas.microsoft.com/office/drawing/2014/main" id="{57F4DD59-1295-CCEC-214C-49FF959AE5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07420" y="2994965"/>
            <a:ext cx="2955925" cy="62865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10">
            <a:extLst>
              <a:ext uri="{FF2B5EF4-FFF2-40B4-BE49-F238E27FC236}">
                <a16:creationId xmlns:a16="http://schemas.microsoft.com/office/drawing/2014/main" id="{187A6F46-8858-D6D9-8FB4-9D32B8C308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07420" y="4608923"/>
            <a:ext cx="2955925" cy="62865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974493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st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6CAD0FBF-2934-0D32-E515-8ED3F228A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57793" y="3493088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1FA5CF09-6110-7716-DF1A-157B645CC0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48189" y="3493087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11FC75C8-64AD-E81C-36AC-C1BC79A8A7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991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9" name="Platshållare för bild 10">
            <a:extLst>
              <a:ext uri="{FF2B5EF4-FFF2-40B4-BE49-F238E27FC236}">
                <a16:creationId xmlns:a16="http://schemas.microsoft.com/office/drawing/2014/main" id="{3686BE1A-4517-2853-9803-D0135ED590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3387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892B38BF-D025-22D6-4A17-C44ECBEEE7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200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0B0BA639-E618-C66E-D2BF-95047B62234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738585" y="3422121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Platshållare för bild 10">
            <a:extLst>
              <a:ext uri="{FF2B5EF4-FFF2-40B4-BE49-F238E27FC236}">
                <a16:creationId xmlns:a16="http://schemas.microsoft.com/office/drawing/2014/main" id="{7868FA60-35B6-AD40-CD4E-C7C9401D428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83782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6" name="Platshållare för text 10">
            <a:extLst>
              <a:ext uri="{FF2B5EF4-FFF2-40B4-BE49-F238E27FC236}">
                <a16:creationId xmlns:a16="http://schemas.microsoft.com/office/drawing/2014/main" id="{DE047848-19F4-FF63-F1E8-711035016A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55688" y="1948233"/>
            <a:ext cx="2410835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575CCBC7-3108-8AA8-5749-4B38B25CC2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141968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8" name="Platshållare för text 10">
            <a:extLst>
              <a:ext uri="{FF2B5EF4-FFF2-40B4-BE49-F238E27FC236}">
                <a16:creationId xmlns:a16="http://schemas.microsoft.com/office/drawing/2014/main" id="{639BFB79-5D48-2203-587E-1314B99FEB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29374" y="1948233"/>
            <a:ext cx="2410835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9" name="Platshållare för text 10">
            <a:extLst>
              <a:ext uri="{FF2B5EF4-FFF2-40B4-BE49-F238E27FC236}">
                <a16:creationId xmlns:a16="http://schemas.microsoft.com/office/drawing/2014/main" id="{DB72DB68-4CCE-5DC7-6995-E4494137AD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5737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0" name="Platshållare för text 10">
            <a:extLst>
              <a:ext uri="{FF2B5EF4-FFF2-40B4-BE49-F238E27FC236}">
                <a16:creationId xmlns:a16="http://schemas.microsoft.com/office/drawing/2014/main" id="{3BDF4E5E-F590-B8B4-5554-1ABE7E59FA8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64189" y="1958456"/>
            <a:ext cx="2289611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415330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ar runt hexagon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EE230758-7D58-4375-F337-9297DD40CE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00323" y="2366169"/>
            <a:ext cx="3206977" cy="2757488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 algn="ctr">
              <a:buNone/>
              <a:defRPr>
                <a:solidFill>
                  <a:schemeClr val="bg1"/>
                </a:solidFill>
              </a:defRPr>
            </a:lvl2pPr>
            <a:lvl3pPr marL="533400" indent="0" algn="ctr">
              <a:buNone/>
              <a:defRPr>
                <a:solidFill>
                  <a:schemeClr val="bg1"/>
                </a:solidFill>
              </a:defRPr>
            </a:lvl3pPr>
            <a:lvl4pPr marL="806450" indent="0" algn="ctr">
              <a:buNone/>
              <a:defRPr>
                <a:solidFill>
                  <a:schemeClr val="bg1"/>
                </a:solidFill>
              </a:defRPr>
            </a:lvl4pPr>
            <a:lvl5pPr marL="1077912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5F0FACCF-362E-5318-D726-A24E4D239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3575" y="1808163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43692"/>
              <a:gd name="adj4" fmla="val -5351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48DA029A-6476-C96E-AEC8-8E075036B2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94775" y="3244851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47472"/>
              <a:gd name="adj4" fmla="val -51878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48F0AF9E-2F6D-3E5E-7E3F-AF08659A93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9690" y="4681538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39669"/>
              <a:gd name="adj4" fmla="val -5495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637324AD-AA23-8A34-0DF8-0D7FCEB45F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2725" y="1808163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46496"/>
              <a:gd name="adj4" fmla="val 14845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9">
            <a:extLst>
              <a:ext uri="{FF2B5EF4-FFF2-40B4-BE49-F238E27FC236}">
                <a16:creationId xmlns:a16="http://schemas.microsoft.com/office/drawing/2014/main" id="{5131142D-0AE0-D28E-12EC-67B64020D8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9788" y="3248820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42269"/>
              <a:gd name="adj4" fmla="val 14390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9">
            <a:extLst>
              <a:ext uri="{FF2B5EF4-FFF2-40B4-BE49-F238E27FC236}">
                <a16:creationId xmlns:a16="http://schemas.microsoft.com/office/drawing/2014/main" id="{9CD9AB60-5A8F-BC76-E11B-07F8977903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2725" y="4689476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39668"/>
              <a:gd name="adj4" fmla="val 14698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8103598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7958658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grö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E0C4D5-9238-4B96-D8DC-79365EEC2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E0C4D5-9238-4B96-D8DC-79365EEC2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FBD9F6A8-F267-E23B-3D6C-7E5158375F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solidFill>
            <a:srgbClr val="B1D0BF">
              <a:alpha val="40000"/>
            </a:srgbClr>
          </a:solidFill>
          <a:ln w="57150">
            <a:solidFill>
              <a:schemeClr val="accent5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2696785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rö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E0C4D5-9238-4B96-D8DC-79365EEC2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E0C4D5-9238-4B96-D8DC-79365EEC2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FBD9F6A8-F267-E23B-3D6C-7E5158375F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solidFill>
            <a:schemeClr val="accent2">
              <a:alpha val="40000"/>
            </a:schemeClr>
          </a:solidFill>
          <a:ln w="57150">
            <a:solidFill>
              <a:schemeClr val="accent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521778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m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2" name="Platshållare för text 5">
            <a:extLst>
              <a:ext uri="{FF2B5EF4-FFF2-40B4-BE49-F238E27FC236}">
                <a16:creationId xmlns:a16="http://schemas.microsoft.com/office/drawing/2014/main" id="{B2744385-835E-1FC1-DC71-69FE1DE6A7D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noFill/>
          <a:ln w="57150">
            <a:solidFill>
              <a:schemeClr val="accent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500465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97667" y="1825626"/>
            <a:ext cx="8856133" cy="1189997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497667" y="3199780"/>
            <a:ext cx="8856133" cy="1237306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2497667" y="4573935"/>
            <a:ext cx="8856133" cy="1237306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EF716A03-6C7A-2959-AC61-4F31BF3E873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200" y="3224434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54D02B75-5286-2C0C-947B-C59D87FDF82F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38200" y="4623241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5607869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2" name="Platshållare för bild 10">
            <a:extLst>
              <a:ext uri="{FF2B5EF4-FFF2-40B4-BE49-F238E27FC236}">
                <a16:creationId xmlns:a16="http://schemas.microsoft.com/office/drawing/2014/main" id="{DB08E0F6-083F-56A2-C30B-4869B49A79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693400" y="5966857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1469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5006872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99755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9631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222536" cy="1890031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23771" y="1825625"/>
            <a:ext cx="8030029" cy="1890000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323771" y="3915457"/>
            <a:ext cx="8030029" cy="1890000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EF716A03-6C7A-2959-AC61-4F31BF3E873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200" y="3915457"/>
            <a:ext cx="2222536" cy="1890031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73506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>
            <a:lvl1pPr>
              <a:defRPr lang="sv-SE"/>
            </a:lvl1pPr>
          </a:lstStyle>
          <a:p>
            <a:pPr lvl="0"/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8086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 och 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DD48E0-4C15-BD2B-0D34-2BE08F567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D48E0-4C15-BD2B-0D34-2BE08F567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3900" y="2454276"/>
            <a:ext cx="7556500" cy="1882775"/>
          </a:xfrm>
        </p:spPr>
        <p:txBody>
          <a:bodyPr vert="horz"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C6EA4766-8B21-3902-6DC6-BEA1D67240C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4388" y="2454276"/>
            <a:ext cx="2324100" cy="18827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err="1"/>
              <a:t>Ifoga</a:t>
            </a:r>
            <a:r>
              <a:rPr lang="sv-SE"/>
              <a:t> ikon eller </a:t>
            </a:r>
            <a:br>
              <a:rPr lang="sv-SE"/>
            </a:br>
            <a:r>
              <a:rPr lang="sv-SE"/>
              <a:t>ta bort</a:t>
            </a:r>
          </a:p>
        </p:txBody>
      </p:sp>
    </p:spTree>
    <p:extLst>
      <p:ext uri="{BB962C8B-B14F-4D97-AF65-F5344CB8AC3E}">
        <p14:creationId xmlns:p14="http://schemas.microsoft.com/office/powerpoint/2010/main" val="25599679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psmall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3BF20226-0A3C-BDC6-26B8-9AE90B2399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1850" y="-527623"/>
            <a:ext cx="3092450" cy="7786747"/>
          </a:xfrm>
        </p:spPr>
        <p:txBody>
          <a:bodyPr>
            <a:spAutoFit/>
          </a:bodyPr>
          <a:lstStyle>
            <a:lvl1pPr marL="0" indent="0">
              <a:buNone/>
              <a:defRPr sz="50000" b="1" i="1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sv-SE"/>
              <a:t>1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fylla i tips och klicka på siffran under för att fylla i numre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145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7958306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257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2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2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1.xml"/><Relationship Id="rId16" Type="http://schemas.openxmlformats.org/officeDocument/2006/relationships/oleObject" Target="../embeddings/oleObject16.bin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28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ags" Target="../tags/tag27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oleObject" Target="../embeddings/oleObject2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3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1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oleObject" Target="../embeddings/oleObject23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tags" Target="../tags/tag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98" imgH="499" progId="TCLayout.ActiveDocument.1">
                  <p:embed/>
                </p:oleObj>
              </mc:Choice>
              <mc:Fallback>
                <p:oleObj name="think-cell Slide" r:id="rId27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650" r:id="rId2"/>
    <p:sldLayoutId id="2147483652" r:id="rId3"/>
    <p:sldLayoutId id="2147483763" r:id="rId4"/>
    <p:sldLayoutId id="2147483819" r:id="rId5"/>
    <p:sldLayoutId id="2147483764" r:id="rId6"/>
    <p:sldLayoutId id="2147483654" r:id="rId7"/>
    <p:sldLayoutId id="2147483760" r:id="rId8"/>
    <p:sldLayoutId id="2147483828" r:id="rId9"/>
    <p:sldLayoutId id="2147483826" r:id="rId10"/>
    <p:sldLayoutId id="2147483812" r:id="rId11"/>
    <p:sldLayoutId id="2147483661" r:id="rId12"/>
    <p:sldLayoutId id="2147483658" r:id="rId13"/>
    <p:sldLayoutId id="2147483762" r:id="rId14"/>
    <p:sldLayoutId id="2147483657" r:id="rId15"/>
    <p:sldLayoutId id="2147483656" r:id="rId16"/>
    <p:sldLayoutId id="2147483761" r:id="rId17"/>
    <p:sldLayoutId id="2147483750" r:id="rId18"/>
    <p:sldLayoutId id="2147483749" r:id="rId19"/>
    <p:sldLayoutId id="2147483771" r:id="rId20"/>
    <p:sldLayoutId id="2147483772" r:id="rId21"/>
    <p:sldLayoutId id="2147483773" r:id="rId22"/>
    <p:sldLayoutId id="2147483843" r:id="rId23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98" imgH="499" progId="TCLayout.ActiveDocument.1">
                  <p:embed/>
                </p:oleObj>
              </mc:Choice>
              <mc:Fallback>
                <p:oleObj name="think-cell Slide" r:id="rId22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765" r:id="rId3"/>
    <p:sldLayoutId id="2147483818" r:id="rId4"/>
    <p:sldLayoutId id="2147483766" r:id="rId5"/>
    <p:sldLayoutId id="2147483667" r:id="rId6"/>
    <p:sldLayoutId id="2147483759" r:id="rId7"/>
    <p:sldLayoutId id="2147483669" r:id="rId8"/>
    <p:sldLayoutId id="2147483825" r:id="rId9"/>
    <p:sldLayoutId id="2147483734" r:id="rId10"/>
    <p:sldLayoutId id="2147483680" r:id="rId11"/>
    <p:sldLayoutId id="2147483815" r:id="rId12"/>
    <p:sldLayoutId id="2147483778" r:id="rId13"/>
    <p:sldLayoutId id="2147483704" r:id="rId14"/>
    <p:sldLayoutId id="2147483853" r:id="rId15"/>
    <p:sldLayoutId id="2147483712" r:id="rId16"/>
    <p:sldLayoutId id="2147483844" r:id="rId17"/>
    <p:sldLayoutId id="2147483872" r:id="rId18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98" imgH="499" progId="TCLayout.ActiveDocument.1">
                  <p:embed/>
                </p:oleObj>
              </mc:Choice>
              <mc:Fallback>
                <p:oleObj name="think-cell Slide" r:id="rId13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55B9FB1-673E-4FA5-AEAD-234B05B54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67" r:id="rId3"/>
    <p:sldLayoutId id="2147483817" r:id="rId4"/>
    <p:sldLayoutId id="2147483768" r:id="rId5"/>
    <p:sldLayoutId id="2147483685" r:id="rId6"/>
    <p:sldLayoutId id="2147483758" r:id="rId7"/>
    <p:sldLayoutId id="2147483687" r:id="rId8"/>
    <p:sldLayoutId id="2147483845" r:id="rId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98" imgH="499" progId="TCLayout.ActiveDocument.1">
                  <p:embed/>
                </p:oleObj>
              </mc:Choice>
              <mc:Fallback>
                <p:oleObj name="think-cell Slide" r:id="rId13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4A3FDFF-44E2-4DA6-9568-D290BF6D0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769" r:id="rId3"/>
    <p:sldLayoutId id="2147483785" r:id="rId4"/>
    <p:sldLayoutId id="2147483770" r:id="rId5"/>
    <p:sldLayoutId id="2147483693" r:id="rId6"/>
    <p:sldLayoutId id="2147483757" r:id="rId7"/>
    <p:sldLayoutId id="2147483695" r:id="rId8"/>
    <p:sldLayoutId id="2147483846" r:id="rId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83" r:id="rId2"/>
    <p:sldLayoutId id="2147483752" r:id="rId3"/>
    <p:sldLayoutId id="2147483784" r:id="rId4"/>
    <p:sldLayoutId id="2147483780" r:id="rId5"/>
    <p:sldLayoutId id="2147483816" r:id="rId6"/>
    <p:sldLayoutId id="2147483832" r:id="rId7"/>
    <p:sldLayoutId id="2147483827" r:id="rId8"/>
    <p:sldLayoutId id="2147483821" r:id="rId9"/>
    <p:sldLayoutId id="2147483822" r:id="rId10"/>
    <p:sldLayoutId id="2147483833" r:id="rId11"/>
    <p:sldLayoutId id="2147483847" r:id="rId1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13B6D05-AFBD-40D4-9D39-D8FE6B7D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522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13B6D05-AFBD-40D4-9D39-D8FE6B7DA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A1DBC44-64F2-4BF5-89EB-3AAF3875D46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829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74" r:id="rId5"/>
    <p:sldLayoutId id="2147483830" r:id="rId6"/>
    <p:sldLayoutId id="2147483779" r:id="rId7"/>
    <p:sldLayoutId id="2147483748" r:id="rId8"/>
    <p:sldLayoutId id="2147483849" r:id="rId9"/>
    <p:sldLayoutId id="2147483848" r:id="rId1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98" imgH="499" progId="TCLayout.ActiveDocument.1">
                  <p:embed/>
                </p:oleObj>
              </mc:Choice>
              <mc:Fallback>
                <p:oleObj name="think-cell Slide" r:id="rId22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708" r:id="rId15"/>
    <p:sldLayoutId id="2147483870" r:id="rId16"/>
    <p:sldLayoutId id="2147483871" r:id="rId17"/>
    <p:sldLayoutId id="2147483850" r:id="rId18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55B9FB1-673E-4FA5-AEAD-234B05B54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7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6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01/11/2024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0336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</p:sldLayoutIdLst>
  <p:txStyles>
    <p:titleStyle>
      <a:lvl1pPr algn="l" defTabSz="914309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36" indent="-271436" algn="l" defTabSz="914309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347" indent="-261912" algn="l" defTabSz="914309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369" indent="-273023" algn="l" defTabSz="914309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805" indent="-271436" algn="l" defTabSz="914309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240" indent="-271436" algn="l" defTabSz="914309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2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FF06E5-5510-4A62-BAAF-EF7C4578E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84CD5BAA-C185-A00F-D096-E582283E60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Styrelsemöte BRG </a:t>
            </a:r>
            <a:br>
              <a:rPr lang="sv-SE" dirty="0"/>
            </a:br>
            <a:r>
              <a:rPr lang="sv-SE" dirty="0"/>
              <a:t>Living Lab </a:t>
            </a:r>
            <a:br>
              <a:rPr lang="sv-SE" dirty="0"/>
            </a:br>
            <a:r>
              <a:rPr lang="sv-SE" dirty="0"/>
              <a:t>Klimatneutralt Byggande</a:t>
            </a:r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2E4E96CC-F985-7DFB-7E2C-995E762D28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BB84776B-50AB-B1BE-871D-5C6529B582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11 November 2024</a:t>
            </a:r>
          </a:p>
        </p:txBody>
      </p:sp>
      <p:pic>
        <p:nvPicPr>
          <p:cNvPr id="10" name="Bildobjekt 9" descr="En bild som visar text, Teckensnitt, skärmbild, grafisk design&#10;&#10;Automatiskt genererad beskrivning">
            <a:extLst>
              <a:ext uri="{FF2B5EF4-FFF2-40B4-BE49-F238E27FC236}">
                <a16:creationId xmlns:a16="http://schemas.microsoft.com/office/drawing/2014/main" id="{3F9D89DE-7135-B8A2-3C00-3A9EED6085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8000" y="6077098"/>
            <a:ext cx="2485572" cy="55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044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D19BABB7-76B2-1696-3517-1623A98C8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</p:spPr>
        <p:txBody>
          <a:bodyPr/>
          <a:lstStyle/>
          <a:p>
            <a:r>
              <a:rPr lang="en-US"/>
              <a:t>Living </a:t>
            </a:r>
            <a:r>
              <a:rPr lang="en-US" dirty="0"/>
              <a:t>Lab </a:t>
            </a:r>
            <a:r>
              <a:rPr lang="en-US" dirty="0" err="1"/>
              <a:t>klimatneutralt</a:t>
            </a:r>
            <a:r>
              <a:rPr lang="en-US" dirty="0"/>
              <a:t> byggande</a:t>
            </a:r>
          </a:p>
        </p:txBody>
      </p:sp>
      <p:graphicFrame>
        <p:nvGraphicFramePr>
          <p:cNvPr id="6" name="Platshållare för innehåll 1">
            <a:extLst>
              <a:ext uri="{FF2B5EF4-FFF2-40B4-BE49-F238E27FC236}">
                <a16:creationId xmlns:a16="http://schemas.microsoft.com/office/drawing/2014/main" id="{4A82A0E2-D0C3-E6F7-04CB-0A5EF25BB9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3164184"/>
              </p:ext>
            </p:extLst>
          </p:nvPr>
        </p:nvGraphicFramePr>
        <p:xfrm>
          <a:off x="838200" y="1825625"/>
          <a:ext cx="10515600" cy="397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56046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AB6134C8-C140-58B1-514A-F932A4C73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inansiering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82CDBA2-58CF-2FBD-EB85-2F2F68BF3B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/>
              <a:t>För projektperioden 2024-08-01 till 2027-12-31:</a:t>
            </a:r>
          </a:p>
          <a:p>
            <a:pPr marL="0" indent="0">
              <a:buNone/>
            </a:pPr>
            <a:r>
              <a:rPr lang="sv-SE" dirty="0"/>
              <a:t>						</a:t>
            </a:r>
            <a:r>
              <a:rPr lang="sv-SE" u="sng" dirty="0"/>
              <a:t>5 mars (</a:t>
            </a:r>
            <a:r>
              <a:rPr lang="sv-SE" u="sng" dirty="0" err="1"/>
              <a:t>prel</a:t>
            </a:r>
            <a:r>
              <a:rPr lang="sv-SE" u="sng" dirty="0"/>
              <a:t>)</a:t>
            </a:r>
            <a:r>
              <a:rPr lang="sv-SE" dirty="0"/>
              <a:t>    	</a:t>
            </a:r>
            <a:r>
              <a:rPr lang="sv-SE" u="sng" dirty="0"/>
              <a:t>20  juni (beslut)</a:t>
            </a:r>
          </a:p>
          <a:p>
            <a:pPr marL="0" indent="0">
              <a:buNone/>
            </a:pPr>
            <a:r>
              <a:rPr lang="sv-SE" dirty="0"/>
              <a:t>Total budget 41 månader			38 000 000	32 412 284</a:t>
            </a:r>
          </a:p>
          <a:p>
            <a:r>
              <a:rPr lang="sv-SE" dirty="0"/>
              <a:t>Varav EU finansiering (40%)			15 200 000 	12 964 911</a:t>
            </a:r>
          </a:p>
          <a:p>
            <a:r>
              <a:rPr lang="sv-SE" dirty="0"/>
              <a:t>Varav privata aktörer				  3 000 000 	 2 782 330</a:t>
            </a:r>
          </a:p>
          <a:p>
            <a:r>
              <a:rPr lang="sv-SE" dirty="0"/>
              <a:t>Varav offentliga aktörer			13 800 000	 6 488 279</a:t>
            </a:r>
          </a:p>
          <a:p>
            <a:r>
              <a:rPr lang="sv-SE" dirty="0"/>
              <a:t>Varav BRG 					  6 000 000	10 176 764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/>
              <a:t>Gbg Stad kompletterande budget i mars 3 mnkr/år för klimatneutralt byggande</a:t>
            </a:r>
          </a:p>
        </p:txBody>
      </p:sp>
    </p:spTree>
    <p:extLst>
      <p:ext uri="{BB962C8B-B14F-4D97-AF65-F5344CB8AC3E}">
        <p14:creationId xmlns:p14="http://schemas.microsoft.com/office/powerpoint/2010/main" val="3985624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6EA90FC7-4CA2-AE7D-2DB6-692837965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ersonalresurser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76F4ACE3-CF96-6595-EFA7-2147ED4240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BRG går in med 4,2 tjänster: projekt- och processledning, affärsutveckling, event- och projektkoordinator, ekonomi, kommunikation. </a:t>
            </a:r>
          </a:p>
          <a:p>
            <a:pPr marL="0" indent="0">
              <a:buNone/>
            </a:pPr>
            <a:r>
              <a:rPr lang="sv-SE" dirty="0"/>
              <a:t>Projektledartjänsten är 67% finansierad av EU (</a:t>
            </a:r>
            <a:r>
              <a:rPr lang="sv-SE" dirty="0" err="1"/>
              <a:t>prel</a:t>
            </a:r>
            <a:r>
              <a:rPr lang="sv-SE" dirty="0"/>
              <a:t> 100%). De övriga 3,2 tjänsterna har en 40 % EU-finansiering enligt plan.</a:t>
            </a:r>
          </a:p>
          <a:p>
            <a:pPr marL="0" indent="0">
              <a:buNone/>
            </a:pPr>
            <a:r>
              <a:rPr lang="sv-SE" dirty="0"/>
              <a:t>					</a:t>
            </a:r>
            <a:r>
              <a:rPr lang="sv-SE" u="sng" dirty="0"/>
              <a:t>5 mars</a:t>
            </a:r>
            <a:r>
              <a:rPr lang="sv-SE" dirty="0"/>
              <a:t>		</a:t>
            </a:r>
            <a:r>
              <a:rPr lang="sv-SE" u="sng" dirty="0"/>
              <a:t>20 juni</a:t>
            </a:r>
          </a:p>
          <a:p>
            <a:pPr marL="0" indent="0">
              <a:buNone/>
            </a:pPr>
            <a:r>
              <a:rPr lang="sv-SE" dirty="0"/>
              <a:t>Total lönekostnad BRG 41 månader	13 300 000	15 307 356</a:t>
            </a:r>
          </a:p>
          <a:p>
            <a:pPr marL="0" indent="0">
              <a:buNone/>
            </a:pPr>
            <a:r>
              <a:rPr lang="sv-SE" dirty="0"/>
              <a:t>Varav EU-bidrag		 	  7 300 000	 6 122 942</a:t>
            </a:r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89760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ubrik 9"/>
          <p:cNvSpPr txBox="1">
            <a:spLocks/>
          </p:cNvSpPr>
          <p:nvPr/>
        </p:nvSpPr>
        <p:spPr>
          <a:xfrm>
            <a:off x="480000" y="480000"/>
            <a:ext cx="9120000" cy="492443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charset="0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charset="0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charset="0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charset="0"/>
                <a:ea typeface="ＭＳ Ｐゴシック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1" i="0" u="none" strike="noStrike" kern="1200" cap="none" spc="0" normalizeH="0" baseline="0" noProof="0">
              <a:ln>
                <a:noFill/>
              </a:ln>
              <a:solidFill>
                <a:srgbClr val="3A5776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pic>
        <p:nvPicPr>
          <p:cNvPr id="6" name="Platshållare för bild 5">
            <a:extLst>
              <a:ext uri="{FF2B5EF4-FFF2-40B4-BE49-F238E27FC236}">
                <a16:creationId xmlns:a16="http://schemas.microsoft.com/office/drawing/2014/main" id="{25544831-744F-8103-204A-34C39A81641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/>
          <a:srcRect l="37473" t="10828" r="4614" b="1085"/>
          <a:stretch/>
        </p:blipFill>
        <p:spPr>
          <a:xfrm>
            <a:off x="6129094" y="1447800"/>
            <a:ext cx="4564063" cy="3867150"/>
          </a:xfrm>
        </p:spPr>
      </p:pic>
      <p:sp>
        <p:nvSpPr>
          <p:cNvPr id="19" name="Rubrik 18"/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1616822"/>
          </a:xfrm>
        </p:spPr>
        <p:txBody>
          <a:bodyPr>
            <a:normAutofit/>
          </a:bodyPr>
          <a:lstStyle/>
          <a:p>
            <a:r>
              <a:rPr lang="sv-SE" sz="3200">
                <a:solidFill>
                  <a:srgbClr val="FFFFFF"/>
                </a:solidFill>
              </a:rPr>
              <a:t>Vad är ett Living Lab?</a:t>
            </a:r>
            <a:endParaRPr lang="sv-SE" sz="320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392DD80-A4EC-7B92-8B04-4D60A3AE7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2897137"/>
            <a:ext cx="4470401" cy="3213731"/>
          </a:xfrm>
        </p:spPr>
        <p:txBody>
          <a:bodyPr>
            <a:normAutofit lnSpcReduction="10000"/>
          </a:bodyPr>
          <a:lstStyle/>
          <a:p>
            <a:r>
              <a:rPr lang="sv-SE"/>
              <a:t>Lämpar sig särskilt för </a:t>
            </a:r>
            <a:r>
              <a:rPr lang="sv-SE" b="1"/>
              <a:t>komplexa</a:t>
            </a:r>
            <a:r>
              <a:rPr lang="sv-SE"/>
              <a:t> </a:t>
            </a:r>
            <a:r>
              <a:rPr lang="sv-SE" b="1"/>
              <a:t>samhällsutmaningar</a:t>
            </a:r>
          </a:p>
          <a:p>
            <a:r>
              <a:rPr lang="sv-SE"/>
              <a:t>Öppen och användarcentrerad </a:t>
            </a:r>
            <a:r>
              <a:rPr lang="sv-SE" b="1"/>
              <a:t>innovation</a:t>
            </a:r>
            <a:r>
              <a:rPr lang="sv-SE"/>
              <a:t> i </a:t>
            </a:r>
            <a:r>
              <a:rPr lang="sv-SE" b="1"/>
              <a:t>verkliga miljöer </a:t>
            </a:r>
            <a:r>
              <a:rPr lang="sv-SE"/>
              <a:t>mellan huvudaktörerna inom </a:t>
            </a:r>
            <a:r>
              <a:rPr lang="sv-SE" b="1" err="1"/>
              <a:t>quadrupel</a:t>
            </a:r>
            <a:r>
              <a:rPr lang="sv-SE" b="1"/>
              <a:t> helix-modellen</a:t>
            </a:r>
          </a:p>
          <a:p>
            <a:r>
              <a:rPr lang="sv-SE"/>
              <a:t>Genom </a:t>
            </a:r>
            <a:r>
              <a:rPr lang="sv-SE" b="1"/>
              <a:t>samskapande</a:t>
            </a:r>
            <a:r>
              <a:rPr lang="sv-SE"/>
              <a:t> utvecklas och testas nya idéer, produkter och tjänster </a:t>
            </a:r>
            <a:r>
              <a:rPr lang="sv-SE" b="1"/>
              <a:t>i samarbete med slutanvändarna</a:t>
            </a:r>
            <a:r>
              <a:rPr lang="sv-SE"/>
              <a:t> </a:t>
            </a:r>
          </a:p>
        </p:txBody>
      </p:sp>
      <p:pic>
        <p:nvPicPr>
          <p:cNvPr id="10" name="Bildobjekt 9" descr="En bild som visar text, Teckensnitt, skärmbild, grafisk design&#10;&#10;Automatiskt genererad beskrivning">
            <a:extLst>
              <a:ext uri="{FF2B5EF4-FFF2-40B4-BE49-F238E27FC236}">
                <a16:creationId xmlns:a16="http://schemas.microsoft.com/office/drawing/2014/main" id="{CBEEB6AF-7B09-5241-E205-C474238729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8000" y="6117738"/>
            <a:ext cx="2485572" cy="55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7142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latshållare för bild 47" descr="En bild som visar person, klädsel, inomhus, möbler&#10;&#10;Automatiskt genererad beskrivning">
            <a:extLst>
              <a:ext uri="{FF2B5EF4-FFF2-40B4-BE49-F238E27FC236}">
                <a16:creationId xmlns:a16="http://schemas.microsoft.com/office/drawing/2014/main" id="{EA7324BB-BD21-E62D-158D-39461C8792E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6707" r="34027"/>
          <a:stretch/>
        </p:blipFill>
        <p:spPr>
          <a:xfrm>
            <a:off x="6096000" y="1"/>
            <a:ext cx="6096000" cy="6858000"/>
          </a:xfr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B17E528B-4661-B6CC-A402-AD99E86F5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Om projekte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9D88D68-D769-7E97-818D-954F08B6608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sv-SE" dirty="0"/>
              <a:t>Projektnamn: Living Lab Klimatneutralt Byggande</a:t>
            </a:r>
          </a:p>
          <a:p>
            <a:r>
              <a:rPr lang="sv-SE" dirty="0"/>
              <a:t>Projekttid: 2024-08 till 2027-12</a:t>
            </a:r>
          </a:p>
          <a:p>
            <a:r>
              <a:rPr lang="sv-SE" dirty="0"/>
              <a:t>Kontext: Inom ramen för Göteborgs Plattform för klimatneutralt byggande</a:t>
            </a:r>
          </a:p>
          <a:p>
            <a:r>
              <a:rPr lang="sv-SE" dirty="0"/>
              <a:t>Syfte: öka utbud och efterfrågan av klimatneutrala lösningar på marknaden samt stimulera regional handlingskraft </a:t>
            </a:r>
          </a:p>
          <a:p>
            <a:r>
              <a:rPr lang="sv-SE" dirty="0"/>
              <a:t>Målgrupp: små och medelstora företag</a:t>
            </a:r>
          </a:p>
          <a:p>
            <a:r>
              <a:rPr lang="sv-SE" dirty="0"/>
              <a:t>Målsättning: stärka den regionala omställningskapaciteten och möjliggöra testning och implementering av innovativa bygglösningar</a:t>
            </a:r>
          </a:p>
        </p:txBody>
      </p:sp>
      <p:sp>
        <p:nvSpPr>
          <p:cNvPr id="18" name="Platshållare för bild 17">
            <a:extLst>
              <a:ext uri="{FF2B5EF4-FFF2-40B4-BE49-F238E27FC236}">
                <a16:creationId xmlns:a16="http://schemas.microsoft.com/office/drawing/2014/main" id="{A6DD3F12-C2C7-2E67-D9C1-FF387C2CE17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10" name="Bildobjekt 9" descr="En bild som visar text, Teckensnitt, skärmbild, grafisk design&#10;&#10;Automatiskt genererad beskrivning">
            <a:extLst>
              <a:ext uri="{FF2B5EF4-FFF2-40B4-BE49-F238E27FC236}">
                <a16:creationId xmlns:a16="http://schemas.microsoft.com/office/drawing/2014/main" id="{8FEB2C6A-33F2-F225-4FB1-D49A35C286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8000" y="6117738"/>
            <a:ext cx="2485572" cy="55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91959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4B9F398-056F-08DC-1592-A7275B17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 anchor="b">
            <a:normAutofit/>
          </a:bodyPr>
          <a:lstStyle/>
          <a:p>
            <a:r>
              <a:rPr lang="sv-SE" dirty="0"/>
              <a:t>Hänt </a:t>
            </a:r>
            <a:r>
              <a:rPr lang="sv-SE"/>
              <a:t>sedan projektstar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879C3A7-3A71-7A73-3554-C5F66C91EF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sv-SE" sz="1900" dirty="0"/>
              <a:t>Rekrytering av projektledare och processledare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Partnerskapsavtal signerat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Uppstartmöten med alla byggpiloter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Formering av olika arbetsgrupper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Upphandling: Produkter för storskalig återbruksmarknad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Upphandling: Lärande utvärdering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Uppstartsmöte, 27 sep</a:t>
            </a:r>
          </a:p>
          <a:p>
            <a:pPr>
              <a:lnSpc>
                <a:spcPct val="90000"/>
              </a:lnSpc>
            </a:pPr>
            <a:r>
              <a:rPr lang="sv-SE" sz="1900" dirty="0"/>
              <a:t>Verkstad, 23 okt: Klimatledarskap </a:t>
            </a:r>
          </a:p>
          <a:p>
            <a:pPr marL="0" indent="0">
              <a:lnSpc>
                <a:spcPct val="90000"/>
              </a:lnSpc>
              <a:buNone/>
            </a:pPr>
            <a:endParaRPr lang="sv-SE" sz="1900" dirty="0"/>
          </a:p>
        </p:txBody>
      </p:sp>
      <p:pic>
        <p:nvPicPr>
          <p:cNvPr id="8" name="Platshållare för innehåll 7" descr="En bild som visar skärmbild, design&#10;&#10;Automatiskt genererad beskrivning">
            <a:extLst>
              <a:ext uri="{FF2B5EF4-FFF2-40B4-BE49-F238E27FC236}">
                <a16:creationId xmlns:a16="http://schemas.microsoft.com/office/drawing/2014/main" id="{0D1BB66F-0833-A3F0-032A-F2E835FA13E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r="11111"/>
          <a:stretch/>
        </p:blipFill>
        <p:spPr>
          <a:xfrm>
            <a:off x="6096000" y="1"/>
            <a:ext cx="6096000" cy="6858000"/>
          </a:xfrm>
          <a:noFill/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DD6BC6FA-D2A0-BCB0-8866-3168A0C808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693400" y="5961063"/>
            <a:ext cx="1055688" cy="682625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2283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BrL7f8vqvxoAdb3AC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3C4B726D-7BFB-414F-8C3D-CFFD150EF72D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90784905-2B17-47E9-A619-7D23F7892F49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16463B83-7148-4FC5-A162-730A659CB8D6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0F7E5AFC-1222-4D12-9859-359F4F99F915}"/>
    </a:ext>
  </a:extLst>
</a:theme>
</file>

<file path=ppt/theme/theme5.xml><?xml version="1.0" encoding="utf-8"?>
<a:theme xmlns:a="http://schemas.openxmlformats.org/drawingml/2006/main" name="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0D1CCB63-FDD6-4F83-A0B6-6D0F071D9EC2}"/>
    </a:ext>
  </a:extLst>
</a:theme>
</file>

<file path=ppt/theme/theme6.xml><?xml version="1.0" encoding="utf-8"?>
<a:theme xmlns:a="http://schemas.openxmlformats.org/drawingml/2006/main" name="BRG Utfallande bil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117A552F-1801-429D-9C31-5593F42F76F7}"/>
    </a:ext>
  </a:extLst>
</a:theme>
</file>

<file path=ppt/theme/theme7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90784905-2B17-47E9-A619-7D23F7892F49}"/>
    </a:ext>
  </a:extLst>
</a:theme>
</file>

<file path=ppt/theme/theme8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16463B83-7148-4FC5-A162-730A659CB8D6}"/>
    </a:ext>
  </a:extLst>
</a:theme>
</file>

<file path=ppt/theme/theme9.xml><?xml version="1.0" encoding="utf-8"?>
<a:theme xmlns:a="http://schemas.openxmlformats.org/drawingml/2006/main" name="1_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6" id="{25B0CD9F-C468-4ADD-8E4F-30F71BF1C45A}" vid="{3C4B726D-7BFB-414F-8C3D-CFFD150EF72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16A92000201544F9D267C49C52F4A04" ma:contentTypeVersion="8" ma:contentTypeDescription="Skapa ett nytt dokument." ma:contentTypeScope="" ma:versionID="58b8402513545a958b42f3170b451c84">
  <xsd:schema xmlns:xsd="http://www.w3.org/2001/XMLSchema" xmlns:xs="http://www.w3.org/2001/XMLSchema" xmlns:p="http://schemas.microsoft.com/office/2006/metadata/properties" xmlns:ns2="c14830de-8ea5-41ee-a0d2-cef36d32dd58" xmlns:ns3="059b457e-ae0d-48bb-b90e-7b883d6bd4f4" targetNamespace="http://schemas.microsoft.com/office/2006/metadata/properties" ma:root="true" ma:fieldsID="23d25d4a619fc1f39905b9a039ad3143" ns2:_="" ns3:_="">
    <xsd:import namespace="c14830de-8ea5-41ee-a0d2-cef36d32dd58"/>
    <xsd:import namespace="059b457e-ae0d-48bb-b90e-7b883d6bd4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4830de-8ea5-41ee-a0d2-cef36d32dd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9b457e-ae0d-48bb-b90e-7b883d6bd4f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6DCA3A-8541-4AA7-AEE9-03C1D1FD84F0}">
  <ds:schemaRefs>
    <ds:schemaRef ds:uri="d5644cd2-5873-4692-ba52-b681c2c67419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70a6a0f4-f051-414e-a0f1-bc0b1fa86896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53B962C-CD91-42D8-A7E4-DBE6929D3F26}"/>
</file>

<file path=customXml/itemProps3.xml><?xml version="1.0" encoding="utf-8"?>
<ds:datastoreItem xmlns:ds="http://schemas.openxmlformats.org/officeDocument/2006/customXml" ds:itemID="{E39C1629-12F5-4E94-AE76-043842D1E34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 ppt mall</Template>
  <TotalTime>0</TotalTime>
  <Words>435</Words>
  <Application>Microsoft Office PowerPoint</Application>
  <PresentationFormat>Bredbild</PresentationFormat>
  <Paragraphs>51</Paragraphs>
  <Slides>7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21" baseType="lpstr">
      <vt:lpstr>Arial</vt:lpstr>
      <vt:lpstr>Calibri</vt:lpstr>
      <vt:lpstr>Google Sans</vt:lpstr>
      <vt:lpstr>Palatino Linotype</vt:lpstr>
      <vt:lpstr>BRG Basic</vt:lpstr>
      <vt:lpstr>BRG Blue</vt:lpstr>
      <vt:lpstr>BRG Green</vt:lpstr>
      <vt:lpstr>BRG Red</vt:lpstr>
      <vt:lpstr>BRG Advanced</vt:lpstr>
      <vt:lpstr>BRG Utfallande bild</vt:lpstr>
      <vt:lpstr>BRG Blue</vt:lpstr>
      <vt:lpstr>BRG Green</vt:lpstr>
      <vt:lpstr>1_BRG Basic</vt:lpstr>
      <vt:lpstr>think-cell Slide</vt:lpstr>
      <vt:lpstr>Styrelsemöte BRG  Living Lab  Klimatneutralt Byggande</vt:lpstr>
      <vt:lpstr>Living Lab klimatneutralt byggande</vt:lpstr>
      <vt:lpstr>Finansiering</vt:lpstr>
      <vt:lpstr>Personalresurser</vt:lpstr>
      <vt:lpstr>Vad är ett Living Lab?</vt:lpstr>
      <vt:lpstr>Om projektet</vt:lpstr>
      <vt:lpstr>Hänt sedan projektst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: PowerPoint-mall</dc:title>
  <dc:creator>Marie Gumabon</dc:creator>
  <cp:lastModifiedBy>Susan Runsten</cp:lastModifiedBy>
  <cp:revision>140</cp:revision>
  <cp:lastPrinted>2023-09-08T10:28:47Z</cp:lastPrinted>
  <dcterms:created xsi:type="dcterms:W3CDTF">2024-04-18T09:25:15Z</dcterms:created>
  <dcterms:modified xsi:type="dcterms:W3CDTF">2024-11-01T08:5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6A92000201544F9D267C49C52F4A04</vt:lpwstr>
  </property>
  <property fmtid="{D5CDD505-2E9C-101B-9397-08002B2CF9AE}" pid="3" name="MediaServiceImageTags">
    <vt:lpwstr/>
  </property>
</Properties>
</file>